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9" r:id="rId1"/>
  </p:sldMasterIdLst>
  <p:notesMasterIdLst>
    <p:notesMasterId r:id="rId14"/>
  </p:notesMasterIdLst>
  <p:handoutMasterIdLst>
    <p:handoutMasterId r:id="rId15"/>
  </p:handoutMasterIdLst>
  <p:sldIdLst>
    <p:sldId id="375" r:id="rId2"/>
    <p:sldId id="459" r:id="rId3"/>
    <p:sldId id="460" r:id="rId4"/>
    <p:sldId id="462" r:id="rId5"/>
    <p:sldId id="463" r:id="rId6"/>
    <p:sldId id="464" r:id="rId7"/>
    <p:sldId id="470" r:id="rId8"/>
    <p:sldId id="466" r:id="rId9"/>
    <p:sldId id="468" r:id="rId10"/>
    <p:sldId id="469" r:id="rId11"/>
    <p:sldId id="467" r:id="rId12"/>
    <p:sldId id="418" r:id="rId13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Source Sans Pro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1515"/>
    <a:srgbClr val="8C2517"/>
    <a:srgbClr val="D6DDD3"/>
    <a:srgbClr val="EDE8DD"/>
    <a:srgbClr val="C2B7A1"/>
    <a:srgbClr val="918873"/>
    <a:srgbClr val="3C3623"/>
    <a:srgbClr val="D0A760"/>
    <a:srgbClr val="434A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84009"/>
  </p:normalViewPr>
  <p:slideViewPr>
    <p:cSldViewPr snapToGrid="0" snapToObjects="1">
      <p:cViewPr varScale="1">
        <p:scale>
          <a:sx n="113" d="100"/>
          <a:sy n="113" d="100"/>
        </p:scale>
        <p:origin x="22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012B3C0C-1CFD-1748-A346-4F07CCD93297}" type="datetimeFigureOut">
              <a:rPr lang="en-US" altLang="x-none"/>
              <a:pPr/>
              <a:t>3/4/2020</a:t>
            </a:fld>
            <a:endParaRPr lang="en-US" alt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888AAE09-A5C2-7D45-9021-3DF07EDF55FB}" type="slidenum">
              <a:rPr lang="en-US" altLang="x-none"/>
              <a:pPr/>
              <a:t>‹#›</a:t>
            </a:fld>
            <a:endParaRPr lang="en-US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B21FE8CF-AF51-664A-A971-26CD0FD70F49}" type="datetimeFigureOut">
              <a:rPr lang="en-US" altLang="x-none"/>
              <a:pPr/>
              <a:t>3/4/2020</a:t>
            </a:fld>
            <a:endParaRPr lang="en-US" alt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7FD704AC-B034-E740-A060-3609E6944F96}" type="slidenum">
              <a:rPr lang="en-US" altLang="x-none"/>
              <a:pPr/>
              <a:t>‹#›</a:t>
            </a:fld>
            <a:endParaRPr lang="en-US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5218703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0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724915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11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126130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2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12609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3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994465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4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08168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5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689844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6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9327294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7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76903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8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5698318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D704AC-B034-E740-A060-3609E6944F96}" type="slidenum">
              <a:rPr lang="en-US" altLang="x-none" smtClean="0"/>
              <a:pPr/>
              <a:t>9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762945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SUSig_White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0350" y="4811713"/>
            <a:ext cx="2046288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00555"/>
            <a:ext cx="8229600" cy="61847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5" y="3599022"/>
            <a:ext cx="6059488" cy="20574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2419028"/>
            <a:ext cx="8229600" cy="4618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8C251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01583C49-0D07-493E-8CBC-E3C85F05D7E5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331386536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rgbClr val="8C1515"/>
          </a:solidFill>
          <a:ln w="9525">
            <a:solidFill>
              <a:srgbClr val="8C1515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03377" y="1538765"/>
            <a:ext cx="2954337" cy="925830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3377" y="2571750"/>
            <a:ext cx="2954337" cy="9329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cap="all" spc="300">
                <a:solidFill>
                  <a:srgbClr val="8C2517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665662" y="1535112"/>
            <a:ext cx="1951038" cy="19510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effectLst>
            <a:outerShdw blurRad="50800" dist="25400" dir="2700000" algn="tl" rotWithShape="0">
              <a:prstClr val="black">
                <a:alpha val="36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none"/>
        </p:style>
        <p:txBody>
          <a:bodyPr/>
          <a:lstStyle>
            <a:lvl1pPr>
              <a:buNone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37FDAEA-069A-40EF-B24A-0FDCC98DF868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188314852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8C251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046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>
            <a:lvl2pPr marL="0" indent="0">
              <a:buFont typeface="Arial"/>
              <a:buNone/>
              <a:defRPr baseline="0"/>
            </a:lvl2pPr>
            <a:lvl3pPr marL="344488" indent="0">
              <a:buNone/>
              <a:defRPr/>
            </a:lvl3pPr>
            <a:lvl4pPr marL="687387" indent="0">
              <a:buNone/>
              <a:defRPr/>
            </a:lvl4pPr>
            <a:lvl5pPr marL="103187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634251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2"/>
          <p:cNvSpPr txBox="1">
            <a:spLocks/>
          </p:cNvSpPr>
          <p:nvPr/>
        </p:nvSpPr>
        <p:spPr>
          <a:xfrm>
            <a:off x="60325" y="7938"/>
            <a:ext cx="457200" cy="457200"/>
          </a:xfrm>
          <a:prstGeom prst="rect">
            <a:avLst/>
          </a:prstGeom>
        </p:spPr>
        <p:txBody>
          <a:bodyPr wrap="none" lIns="45720" tIns="0" rIns="45720" bIns="0" anchor="ctr" anchorCtr="1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fld id="{50C50986-B87B-D843-9CF6-E76000A066BB}" type="slidenum">
              <a:rPr lang="en-US" altLang="x-none" sz="1000">
                <a:solidFill>
                  <a:srgbClr val="7F7F7F"/>
                </a:solidFill>
                <a:latin typeface="Arial" charset="0"/>
              </a:rPr>
              <a:pPr algn="ctr" eaLnBrk="1" hangingPunct="1"/>
              <a:t>‹#›</a:t>
            </a:fld>
            <a:endParaRPr lang="en-US" altLang="x-none" sz="1000">
              <a:solidFill>
                <a:srgbClr val="7F7F7F"/>
              </a:solidFill>
              <a:latin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908685"/>
            <a:ext cx="3779838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9850374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908685"/>
            <a:ext cx="7707862" cy="1816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27" y="2841313"/>
            <a:ext cx="7707313" cy="1816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645955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908686"/>
            <a:ext cx="3779838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2837497"/>
            <a:ext cx="3779838" cy="18302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96102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7" y="908686"/>
            <a:ext cx="3787775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7" y="2840613"/>
            <a:ext cx="3781425" cy="18271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908686"/>
            <a:ext cx="3779838" cy="18230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2840613"/>
            <a:ext cx="3779838" cy="18271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09565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03377" y="1538765"/>
            <a:ext cx="2954337" cy="925830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3377" y="2571750"/>
            <a:ext cx="2954337" cy="9329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cap="all" spc="300">
                <a:solidFill>
                  <a:srgbClr val="8C2517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4665662" y="1535112"/>
            <a:ext cx="1951038" cy="19510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effectLst>
            <a:outerShdw blurRad="50800" dist="25400" dir="2700000" algn="tl" rotWithShape="0">
              <a:prstClr val="black">
                <a:alpha val="36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none"/>
        </p:style>
        <p:txBody>
          <a:bodyPr/>
          <a:lstStyle>
            <a:lvl1pPr>
              <a:defRPr lang="en-US" sz="1200" dirty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FFA4E01-0B38-43CF-9978-DBE02F12C676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  <p:extLst>
      <p:ext uri="{BB962C8B-B14F-4D97-AF65-F5344CB8AC3E}">
        <p14:creationId xmlns:p14="http://schemas.microsoft.com/office/powerpoint/2010/main" val="1188413881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8C251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7700963" cy="3759042"/>
          </a:xfrm>
        </p:spPr>
        <p:txBody>
          <a:bodyPr/>
          <a:lstStyle>
            <a:lvl1pPr>
              <a:defRPr sz="1600"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4180867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876800" y="908685"/>
            <a:ext cx="3779838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78991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948777" y="908685"/>
            <a:ext cx="7707862" cy="18166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949327" y="2841313"/>
            <a:ext cx="7707313" cy="1816607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7542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9327" y="908685"/>
            <a:ext cx="3787775" cy="375904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76800" y="908686"/>
            <a:ext cx="3779838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876800" y="2837497"/>
            <a:ext cx="3779838" cy="183023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907297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48776" y="359541"/>
            <a:ext cx="7707862" cy="48802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49327" y="908686"/>
            <a:ext cx="3787775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955677" y="2840613"/>
            <a:ext cx="3781425" cy="182711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4876800" y="908686"/>
            <a:ext cx="3779838" cy="182308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/>
          </p:nvPr>
        </p:nvSpPr>
        <p:spPr>
          <a:xfrm>
            <a:off x="4876800" y="2840613"/>
            <a:ext cx="3779838" cy="1827114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7427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3DC1E-50AE-4656-B4A6-4861735A1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0481961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4806950"/>
            <a:ext cx="9155113" cy="342900"/>
          </a:xfrm>
          <a:prstGeom prst="rect">
            <a:avLst/>
          </a:prstGeom>
          <a:solidFill>
            <a:srgbClr val="8C2517"/>
          </a:solidFill>
          <a:ln w="9525">
            <a:solidFill>
              <a:srgbClr val="8C1515"/>
            </a:solidFill>
            <a:miter lim="800000"/>
            <a:headEnd/>
            <a:tailEnd/>
          </a:ln>
          <a:effectLst>
            <a:outerShdw blurRad="38100" dist="25401" dir="2700000" algn="br" rotWithShape="0">
              <a:srgbClr val="000000">
                <a:alpha val="59999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ource Sans Pro" charset="0"/>
                <a:ea typeface="ＭＳ Ｐゴシック" charset="-128"/>
              </a:defRPr>
            </a:lvl9pPr>
          </a:lstStyle>
          <a:p>
            <a:pPr algn="ctr" eaLnBrk="1" hangingPunct="1"/>
            <a:endParaRPr lang="x-none" altLang="x-none" sz="1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92517"/>
            <a:ext cx="8229600" cy="61847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18"/>
          </p:nvPr>
        </p:nvSpPr>
        <p:spPr>
          <a:xfrm>
            <a:off x="1603375" y="3599022"/>
            <a:ext cx="6059488" cy="205740"/>
          </a:xfrm>
          <a:prstGeom prst="rect">
            <a:avLst/>
          </a:prstGeom>
        </p:spPr>
        <p:txBody>
          <a:bodyPr wrap="none" anchor="ctr" anchorCtr="1">
            <a:noAutofit/>
          </a:bodyPr>
          <a:lstStyle>
            <a:lvl1pPr algn="ctr">
              <a:buNone/>
              <a:defRPr sz="18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57200" y="2410990"/>
            <a:ext cx="8229600" cy="4618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100" cap="small" spc="300">
                <a:solidFill>
                  <a:srgbClr val="8C251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9214894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6EB2669-5A1B-425B-9E3E-4DF692ACB15B}"/>
              </a:ext>
            </a:extLst>
          </p:cNvPr>
          <p:cNvSpPr/>
          <p:nvPr userDrawn="1"/>
        </p:nvSpPr>
        <p:spPr>
          <a:xfrm>
            <a:off x="0" y="4801104"/>
            <a:ext cx="9144000" cy="342396"/>
          </a:xfrm>
          <a:prstGeom prst="rect">
            <a:avLst/>
          </a:prstGeom>
          <a:solidFill>
            <a:srgbClr val="8C2517"/>
          </a:solidFill>
          <a:ln>
            <a:solidFill>
              <a:srgbClr val="8C151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8C1515"/>
              </a:solidFill>
              <a:latin typeface="Arial"/>
            </a:endParaRPr>
          </a:p>
        </p:txBody>
      </p:sp>
      <p:sp>
        <p:nvSpPr>
          <p:cNvPr id="5122" name="Title Placeholder 2"/>
          <p:cNvSpPr>
            <a:spLocks noGrp="1"/>
          </p:cNvSpPr>
          <p:nvPr>
            <p:ph type="title"/>
          </p:nvPr>
        </p:nvSpPr>
        <p:spPr bwMode="auto">
          <a:xfrm>
            <a:off x="949325" y="358775"/>
            <a:ext cx="77073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49325" y="903288"/>
            <a:ext cx="7707313" cy="376396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275AFA2-C38A-4BA4-8AB0-556DDF9B60DE}"/>
              </a:ext>
            </a:extLst>
          </p:cNvPr>
          <p:cNvSpPr txBox="1">
            <a:spLocks/>
          </p:cNvSpPr>
          <p:nvPr userDrawn="1"/>
        </p:nvSpPr>
        <p:spPr>
          <a:xfrm>
            <a:off x="109538" y="4845330"/>
            <a:ext cx="846137" cy="2714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Source Sans Pro" charset="0"/>
                <a:ea typeface="ＭＳ Ｐゴシック" charset="-128"/>
                <a:cs typeface="+mn-cs"/>
              </a:defRPr>
            </a:lvl9pPr>
          </a:lstStyle>
          <a:p>
            <a:fld id="{0D43BB7F-BCAB-D44B-B5B7-2AA05B5711E3}" type="slidenum">
              <a:rPr lang="en-US" altLang="x-none" smtClean="0"/>
              <a:pPr/>
              <a:t>‹#›</a:t>
            </a:fld>
            <a:endParaRPr lang="en-US" altLang="x-non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100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</p:sldLayoutIdLst>
  <p:transition spd="slow">
    <p:fade/>
  </p:transition>
  <p:hf hdr="0" ftr="0" dt="0"/>
  <p:txStyles>
    <p:titleStyle>
      <a:lvl1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kern="1200">
          <a:solidFill>
            <a:schemeClr val="bg2"/>
          </a:solidFill>
          <a:latin typeface="Arial"/>
          <a:ea typeface="ＭＳ Ｐゴシック" charset="0"/>
          <a:cs typeface="ＭＳ Ｐゴシック" charset="0"/>
        </a:defRPr>
      </a:lvl1pPr>
      <a:lvl2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6pPr>
      <a:lvl7pPr marL="9144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7pPr>
      <a:lvl8pPr marL="13716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8pPr>
      <a:lvl9pPr marL="1828800" algn="l" defTabSz="457200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Source Sans Pro Semibold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1600" kern="1200" cap="small" spc="20">
          <a:solidFill>
            <a:schemeClr val="tx1"/>
          </a:solidFill>
          <a:latin typeface="Arial"/>
          <a:ea typeface="ＭＳ Ｐゴシック" charset="0"/>
          <a:cs typeface="ＭＳ Ｐゴシック" charset="0"/>
        </a:defRPr>
      </a:lvl1pPr>
      <a:lvl2pPr marL="288925" indent="-288925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charset="2"/>
        <a:buChar char="§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2pPr>
      <a:lvl3pPr marL="569913" indent="-225425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02000"/>
        <a:buFont typeface="Source Sans Pro" charset="0"/>
        <a:buChar char="›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3pPr>
      <a:lvl4pPr marL="9144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4pPr>
      <a:lvl5pPr marL="1258888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Source Sans Pro" charset="0"/>
        <a:buChar char="–"/>
        <a:defRPr kern="1200">
          <a:solidFill>
            <a:srgbClr val="595959"/>
          </a:solidFill>
          <a:latin typeface="Arial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nthesnow.com/california/mammoth-mountain-ski-area/historical-snowfall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ctrTitle"/>
          </p:nvPr>
        </p:nvSpPr>
        <p:spPr>
          <a:xfrm>
            <a:off x="457200" y="1952625"/>
            <a:ext cx="8229600" cy="619125"/>
          </a:xfrm>
        </p:spPr>
        <p:txBody>
          <a:bodyPr/>
          <a:lstStyle/>
          <a:p>
            <a:pPr eaLnBrk="1" hangingPunct="1"/>
            <a:r>
              <a:rPr lang="en-US" altLang="x-none" b="1" dirty="0">
                <a:latin typeface="Arial" charset="0"/>
                <a:ea typeface="ＭＳ Ｐゴシック" charset="-128"/>
              </a:rPr>
              <a:t>Mammoth snow depth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1603375" y="4227672"/>
            <a:ext cx="6059488" cy="205740"/>
          </a:xfrm>
        </p:spPr>
        <p:txBody>
          <a:bodyPr/>
          <a:lstStyle/>
          <a:p>
            <a:r>
              <a:rPr lang="en-US" sz="1400" dirty="0"/>
              <a:t>John Rapp </a:t>
            </a:r>
            <a:r>
              <a:rPr lang="en-US" sz="1400" dirty="0" err="1"/>
              <a:t>Farnes</a:t>
            </a:r>
            <a:endParaRPr lang="en-US" sz="14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2571750"/>
            <a:ext cx="8229600" cy="46196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Wingdings" charset="0"/>
              <a:buNone/>
              <a:defRPr/>
            </a:pPr>
            <a:r>
              <a:rPr lang="en-US" dirty="0">
                <a:solidFill>
                  <a:schemeClr val="bg2"/>
                </a:solidFill>
                <a:ea typeface="+mn-ea"/>
                <a:cs typeface="+mn-cs"/>
              </a:rPr>
              <a:t>A Time Series Analysis</a:t>
            </a:r>
          </a:p>
        </p:txBody>
      </p:sp>
    </p:spTree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ediction</a:t>
            </a:r>
            <a:r>
              <a:rPr lang="sv-SE" dirty="0"/>
              <a:t> different </a:t>
            </a:r>
            <a:r>
              <a:rPr lang="sv-SE" dirty="0" err="1"/>
              <a:t>model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Linea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trending</a:t>
            </a:r>
            <a:r>
              <a:rPr lang="sv-SE" dirty="0">
                <a:solidFill>
                  <a:schemeClr val="tx1"/>
                </a:solidFill>
              </a:rPr>
              <a:t>, ARMA(2,0,1)x(1,1,0)[52]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Better</a:t>
            </a:r>
            <a:r>
              <a:rPr lang="sv-SE" dirty="0">
                <a:solidFill>
                  <a:schemeClr val="tx1"/>
                </a:solidFill>
              </a:rPr>
              <a:t> Ljung-Box and </a:t>
            </a:r>
            <a:r>
              <a:rPr lang="sv-SE" dirty="0" err="1">
                <a:solidFill>
                  <a:schemeClr val="tx1"/>
                </a:solidFill>
              </a:rPr>
              <a:t>residual</a:t>
            </a:r>
            <a:r>
              <a:rPr lang="sv-SE" dirty="0">
                <a:solidFill>
                  <a:schemeClr val="tx1"/>
                </a:solidFill>
              </a:rPr>
              <a:t> ACF, </a:t>
            </a:r>
            <a:r>
              <a:rPr lang="sv-SE" dirty="0" err="1">
                <a:solidFill>
                  <a:schemeClr val="tx1"/>
                </a:solidFill>
              </a:rPr>
              <a:t>hig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varianc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redicts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ill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increase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BED9F1-5CA7-4D9E-AA0C-8071F3E78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6272" y="2259451"/>
            <a:ext cx="3430368" cy="21462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DDA98C9-EF53-49D3-94B0-C71419E547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6272" y="1636231"/>
            <a:ext cx="3123325" cy="5621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C4D2EE-E714-4CA6-8BBB-D5BE9447A6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677" y="2198331"/>
            <a:ext cx="3573005" cy="220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466602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Next</a:t>
            </a:r>
            <a:r>
              <a:rPr lang="sv-SE" dirty="0"/>
              <a:t> step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55677" y="908685"/>
            <a:ext cx="3921123" cy="2532168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More</a:t>
            </a:r>
            <a:r>
              <a:rPr lang="sv-SE" dirty="0">
                <a:solidFill>
                  <a:schemeClr val="tx1"/>
                </a:solidFill>
              </a:rPr>
              <a:t> transformations on 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E.g</a:t>
            </a:r>
            <a:r>
              <a:rPr lang="sv-SE" dirty="0">
                <a:solidFill>
                  <a:schemeClr val="tx1"/>
                </a:solidFill>
              </a:rPr>
              <a:t>. log, </a:t>
            </a:r>
            <a:r>
              <a:rPr lang="sv-SE" dirty="0" err="1">
                <a:solidFill>
                  <a:schemeClr val="tx1"/>
                </a:solidFill>
              </a:rPr>
              <a:t>removing</a:t>
            </a:r>
            <a:r>
              <a:rPr lang="sv-SE" dirty="0">
                <a:solidFill>
                  <a:schemeClr val="tx1"/>
                </a:solidFill>
              </a:rPr>
              <a:t> tren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O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ea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featur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E.g</a:t>
            </a:r>
            <a:r>
              <a:rPr lang="sv-SE" dirty="0">
                <a:solidFill>
                  <a:schemeClr val="tx1"/>
                </a:solidFill>
              </a:rPr>
              <a:t>. radar, </a:t>
            </a:r>
            <a:r>
              <a:rPr lang="sv-SE" dirty="0" err="1">
                <a:solidFill>
                  <a:schemeClr val="tx1"/>
                </a:solidFill>
              </a:rPr>
              <a:t>temperatur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Other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odels</a:t>
            </a: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GARCH, </a:t>
            </a:r>
            <a:r>
              <a:rPr lang="sv-SE" dirty="0" err="1">
                <a:solidFill>
                  <a:schemeClr val="tx1"/>
                </a:solidFill>
              </a:rPr>
              <a:t>vary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variance</a:t>
            </a:r>
            <a:r>
              <a:rPr lang="sv-SE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869B23-F165-478F-BCFA-865580E17F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3344" y="1748883"/>
            <a:ext cx="3473294" cy="261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899332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4BF8517-EC18-4CFD-8E4B-65128FAA35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630746" y="1629764"/>
            <a:ext cx="5882510" cy="1883971"/>
          </a:xfrm>
          <a:prstGeom prst="rect">
            <a:avLst/>
          </a:prstGeom>
          <a:noFill/>
        </p:spPr>
        <p:txBody>
          <a:bodyPr vert="horz" wrap="square" rtlCol="0" anchor="ctr">
            <a:noAutofit/>
          </a:bodyPr>
          <a:lstStyle/>
          <a:p>
            <a:r>
              <a:rPr lang="en-US" sz="4800" dirty="0">
                <a:solidFill>
                  <a:schemeClr val="accent1">
                    <a:lumMod val="100000"/>
                  </a:schemeClr>
                </a:solidFill>
                <a:latin typeface="Arial" panose="020B0604020202020204" pitchFamily="34" charset="0"/>
              </a:rPr>
              <a:t>Question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25236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ammouth</a:t>
            </a:r>
            <a:r>
              <a:rPr lang="sv-SE" dirty="0"/>
              <a:t> </a:t>
            </a:r>
            <a:r>
              <a:rPr lang="sv-SE" dirty="0" err="1"/>
              <a:t>mountain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578641-112B-4A98-9B7D-CE813A90D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038" y="908685"/>
            <a:ext cx="2914602" cy="3193708"/>
          </a:xfrm>
          <a:prstGeom prst="rect">
            <a:avLst/>
          </a:prstGeom>
        </p:spPr>
      </p:pic>
      <p:pic>
        <p:nvPicPr>
          <p:cNvPr id="1028" name="Picture 4" descr="Bildresultat för mammoth mountain sign">
            <a:extLst>
              <a:ext uri="{FF2B5EF4-FFF2-40B4-BE49-F238E27FC236}">
                <a16:creationId xmlns:a16="http://schemas.microsoft.com/office/drawing/2014/main" id="{7C355AEC-999F-4926-985C-BA83E96E9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677" y="908685"/>
            <a:ext cx="4301292" cy="286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4825764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ataset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data from </a:t>
            </a:r>
            <a:r>
              <a:rPr lang="sv-SE" dirty="0" err="1">
                <a:solidFill>
                  <a:schemeClr val="tx1"/>
                </a:solidFill>
              </a:rPr>
              <a:t>Mammo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website</a:t>
            </a:r>
            <a:r>
              <a:rPr lang="sv-SE" dirty="0">
                <a:solidFill>
                  <a:schemeClr val="tx1"/>
                </a:solidFill>
              </a:rPr>
              <a:t> (Main </a:t>
            </a:r>
            <a:r>
              <a:rPr lang="sv-SE" dirty="0" err="1">
                <a:solidFill>
                  <a:schemeClr val="tx1"/>
                </a:solidFill>
              </a:rPr>
              <a:t>lodge</a:t>
            </a:r>
            <a:r>
              <a:rPr lang="sv-SE" dirty="0">
                <a:solidFill>
                  <a:schemeClr val="tx1"/>
                </a:solidFill>
              </a:rPr>
              <a:t>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Collected</a:t>
            </a:r>
            <a:r>
              <a:rPr lang="sv-SE" dirty="0">
                <a:solidFill>
                  <a:schemeClr val="tx1"/>
                </a:solidFill>
              </a:rPr>
              <a:t> by </a:t>
            </a:r>
            <a:r>
              <a:rPr lang="sv-SE" dirty="0">
                <a:hlinkClick r:id="rId3"/>
              </a:rPr>
              <a:t>https://www.onthesnow.com/california/mammoth-mountain-ski-area/historical-snowfall.html</a:t>
            </a:r>
            <a:endParaRPr lang="sv-S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Problem </a:t>
            </a:r>
            <a:r>
              <a:rPr lang="sv-SE" dirty="0" err="1">
                <a:solidFill>
                  <a:schemeClr val="tx1"/>
                </a:solidFill>
              </a:rPr>
              <a:t>wi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During</a:t>
            </a:r>
            <a:r>
              <a:rPr lang="sv-SE" dirty="0">
                <a:solidFill>
                  <a:schemeClr val="tx1"/>
                </a:solidFill>
              </a:rPr>
              <a:t> off </a:t>
            </a:r>
            <a:r>
              <a:rPr lang="sv-SE" dirty="0" err="1">
                <a:solidFill>
                  <a:schemeClr val="tx1"/>
                </a:solidFill>
              </a:rPr>
              <a:t>season</a:t>
            </a:r>
            <a:r>
              <a:rPr lang="sv-SE" dirty="0">
                <a:solidFill>
                  <a:schemeClr val="tx1"/>
                </a:solidFill>
              </a:rPr>
              <a:t> and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measurements</a:t>
            </a: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9E836-DE51-409B-BC01-A675F2F890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776" y="2571750"/>
            <a:ext cx="3396572" cy="209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454281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a </a:t>
            </a:r>
            <a:r>
              <a:rPr lang="sv-SE" dirty="0" err="1"/>
              <a:t>clean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Weekl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average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Fill</a:t>
            </a:r>
            <a:r>
              <a:rPr lang="sv-SE" dirty="0">
                <a:solidFill>
                  <a:schemeClr val="tx1"/>
                </a:solidFill>
              </a:rPr>
              <a:t> 0s in </a:t>
            </a:r>
            <a:r>
              <a:rPr lang="sv-SE" dirty="0" err="1">
                <a:solidFill>
                  <a:schemeClr val="tx1"/>
                </a:solidFill>
              </a:rPr>
              <a:t>miss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values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A1E1E7-1379-4525-8839-4A67786D02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1998133"/>
            <a:ext cx="4356588" cy="26695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E26AB2-333B-424D-8CE5-74F2C73957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1573" y="2316925"/>
            <a:ext cx="3393864" cy="194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3299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etrend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Clear and </a:t>
            </a:r>
            <a:r>
              <a:rPr lang="sv-SE" dirty="0" err="1">
                <a:solidFill>
                  <a:schemeClr val="tx1"/>
                </a:solidFill>
              </a:rPr>
              <a:t>obvious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yearly</a:t>
            </a:r>
            <a:r>
              <a:rPr lang="sv-SE" dirty="0">
                <a:solidFill>
                  <a:schemeClr val="tx1"/>
                </a:solidFill>
              </a:rPr>
              <a:t> trend (</a:t>
            </a:r>
            <a:r>
              <a:rPr lang="sv-SE" dirty="0" err="1">
                <a:solidFill>
                  <a:schemeClr val="tx1"/>
                </a:solidFill>
              </a:rPr>
              <a:t>additional</a:t>
            </a:r>
            <a:r>
              <a:rPr lang="sv-SE" dirty="0">
                <a:solidFill>
                  <a:schemeClr val="tx1"/>
                </a:solidFill>
              </a:rPr>
              <a:t> 4 </a:t>
            </a:r>
            <a:r>
              <a:rPr lang="sv-SE" dirty="0" err="1">
                <a:solidFill>
                  <a:schemeClr val="tx1"/>
                </a:solidFill>
              </a:rPr>
              <a:t>year</a:t>
            </a:r>
            <a:r>
              <a:rPr lang="sv-SE" dirty="0">
                <a:solidFill>
                  <a:schemeClr val="tx1"/>
                </a:solidFill>
              </a:rPr>
              <a:t> trend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Detrend</a:t>
            </a:r>
            <a:r>
              <a:rPr lang="sv-SE" dirty="0">
                <a:solidFill>
                  <a:schemeClr val="tx1"/>
                </a:solidFill>
              </a:rPr>
              <a:t> as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– </a:t>
            </a:r>
            <a:r>
              <a:rPr lang="sv-SE" dirty="0" err="1">
                <a:solidFill>
                  <a:schemeClr val="tx1"/>
                </a:solidFill>
              </a:rPr>
              <a:t>weekly_average</a:t>
            </a:r>
            <a:r>
              <a:rPr lang="sv-SE" dirty="0">
                <a:solidFill>
                  <a:schemeClr val="tx1"/>
                </a:solidFill>
              </a:rPr>
              <a:t>(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)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BC3506-5438-4F9E-B118-94AAF1F0E6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3241053"/>
            <a:ext cx="2208087" cy="14266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E81D450-37BD-4931-8C80-3D4BA9D6FA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328" y="1855894"/>
            <a:ext cx="2135879" cy="12188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9DFD4C5-4F60-46FA-B366-88D9DA609A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4446" y="1891368"/>
            <a:ext cx="4026071" cy="244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8179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etrended</a:t>
            </a:r>
            <a:r>
              <a:rPr lang="sv-SE" dirty="0"/>
              <a:t> series </a:t>
            </a:r>
            <a:r>
              <a:rPr lang="sv-SE" dirty="0" err="1"/>
              <a:t>properties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Looks like AR(1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No </a:t>
            </a:r>
            <a:r>
              <a:rPr lang="sv-SE" dirty="0" err="1">
                <a:solidFill>
                  <a:schemeClr val="tx1"/>
                </a:solidFill>
              </a:rPr>
              <a:t>yearly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peak</a:t>
            </a:r>
            <a:r>
              <a:rPr lang="sv-SE" dirty="0">
                <a:solidFill>
                  <a:schemeClr val="tx1"/>
                </a:solidFill>
              </a:rPr>
              <a:t> in </a:t>
            </a:r>
            <a:r>
              <a:rPr lang="sv-SE" dirty="0" err="1">
                <a:solidFill>
                  <a:schemeClr val="tx1"/>
                </a:solidFill>
              </a:rPr>
              <a:t>periodogram</a:t>
            </a:r>
            <a:endParaRPr lang="sv-SE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C8B13AB-0FDE-45F9-95C3-90F7037CA135}"/>
              </a:ext>
            </a:extLst>
          </p:cNvPr>
          <p:cNvGrpSpPr/>
          <p:nvPr/>
        </p:nvGrpSpPr>
        <p:grpSpPr>
          <a:xfrm>
            <a:off x="492582" y="2110708"/>
            <a:ext cx="8158836" cy="2024129"/>
            <a:chOff x="624883" y="2110708"/>
            <a:chExt cx="8158836" cy="202412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242C63E-59DB-44C4-951F-27E948F9AB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883" y="2135268"/>
              <a:ext cx="2750445" cy="1999569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5D9B886-B37F-4C5D-9FB2-1CB17704D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75328" y="2110708"/>
              <a:ext cx="2690676" cy="200360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C4ED85A-0B3D-4245-90A0-5FDE749DACC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66004" y="2223814"/>
              <a:ext cx="2717715" cy="17773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7569580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odel</a:t>
            </a:r>
            <a:r>
              <a:rPr lang="sv-SE" dirty="0"/>
              <a:t> </a:t>
            </a:r>
            <a:r>
              <a:rPr lang="sv-SE" dirty="0" err="1"/>
              <a:t>fitting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Best </a:t>
            </a:r>
            <a:r>
              <a:rPr lang="sv-SE" dirty="0" err="1">
                <a:solidFill>
                  <a:schemeClr val="tx1"/>
                </a:solidFill>
              </a:rPr>
              <a:t>model</a:t>
            </a:r>
            <a:r>
              <a:rPr lang="sv-SE" dirty="0">
                <a:solidFill>
                  <a:schemeClr val="tx1"/>
                </a:solidFill>
              </a:rPr>
              <a:t> ARMA(1,1,1) </a:t>
            </a:r>
            <a:r>
              <a:rPr lang="sv-SE" dirty="0" err="1">
                <a:solidFill>
                  <a:schemeClr val="tx1"/>
                </a:solidFill>
              </a:rPr>
              <a:t>according</a:t>
            </a:r>
            <a:r>
              <a:rPr lang="sv-SE" dirty="0">
                <a:solidFill>
                  <a:schemeClr val="tx1"/>
                </a:solidFill>
              </a:rPr>
              <a:t> to AI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All terms </a:t>
            </a:r>
            <a:r>
              <a:rPr lang="sv-SE" dirty="0" err="1">
                <a:solidFill>
                  <a:schemeClr val="tx1"/>
                </a:solidFill>
              </a:rPr>
              <a:t>significant</a:t>
            </a:r>
            <a:endParaRPr lang="sv-SE" dirty="0">
              <a:solidFill>
                <a:schemeClr val="tx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High</a:t>
            </a:r>
            <a:r>
              <a:rPr lang="sv-SE" dirty="0">
                <a:solidFill>
                  <a:schemeClr val="tx1"/>
                </a:solidFill>
              </a:rPr>
              <a:t> sigma^2 </a:t>
            </a:r>
            <a:r>
              <a:rPr lang="sv-SE" dirty="0" err="1">
                <a:solidFill>
                  <a:schemeClr val="tx1"/>
                </a:solidFill>
              </a:rPr>
              <a:t>estimate</a:t>
            </a:r>
            <a:r>
              <a:rPr lang="sv-SE" dirty="0">
                <a:solidFill>
                  <a:schemeClr val="tx1"/>
                </a:solidFill>
              </a:rPr>
              <a:t>: 108.4</a:t>
            </a:r>
            <a:endParaRPr lang="sv-S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F3F789-3007-454B-ACFF-871D254035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7" y="2658268"/>
            <a:ext cx="6537960" cy="1225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96880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Residuals</a:t>
            </a:r>
            <a:r>
              <a:rPr lang="sv-SE" dirty="0"/>
              <a:t> and </a:t>
            </a:r>
            <a:r>
              <a:rPr lang="sv-SE" dirty="0" err="1"/>
              <a:t>smoothness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Residuals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doesn’t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meet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assumptions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Big non-normal </a:t>
            </a:r>
            <a:r>
              <a:rPr lang="sv-SE" sz="1600" dirty="0" err="1">
                <a:solidFill>
                  <a:schemeClr val="tx1"/>
                </a:solidFill>
              </a:rPr>
              <a:t>residuals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ACF and Ljung-Box OK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Low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frequency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variance</a:t>
            </a:r>
            <a:endParaRPr lang="sv-SE" sz="1600" dirty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chemeClr val="tx1"/>
                </a:solidFill>
              </a:rPr>
              <a:t>Smooth</a:t>
            </a:r>
            <a:r>
              <a:rPr lang="sv-SE" sz="1600" dirty="0">
                <a:solidFill>
                  <a:schemeClr val="tx1"/>
                </a:solidFill>
              </a:rPr>
              <a:t>, </a:t>
            </a:r>
            <a:r>
              <a:rPr lang="sv-SE" sz="1600" dirty="0" err="1">
                <a:solidFill>
                  <a:schemeClr val="tx1"/>
                </a:solidFill>
              </a:rPr>
              <a:t>however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big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jumps</a:t>
            </a:r>
            <a:endParaRPr lang="sv-SE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9F6720-6798-465E-9FF4-24FA68BB1E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8478" y="2539299"/>
            <a:ext cx="3130270" cy="20754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1783CB-6BB8-479A-9750-313829C05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677" y="2539299"/>
            <a:ext cx="3171742" cy="203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12014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765E6-BA63-48E7-B79E-6BE0553B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ediction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12E41B-CE3B-4333-BF48-9E480CA8781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snow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depth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continue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dirty="0" err="1">
                <a:solidFill>
                  <a:schemeClr val="tx1"/>
                </a:solidFill>
              </a:rPr>
              <a:t>according</a:t>
            </a:r>
            <a:r>
              <a:rPr lang="sv-SE" dirty="0">
                <a:solidFill>
                  <a:schemeClr val="tx1"/>
                </a:solidFill>
              </a:rPr>
              <a:t> to </a:t>
            </a:r>
            <a:r>
              <a:rPr lang="sv-SE" dirty="0" err="1">
                <a:solidFill>
                  <a:schemeClr val="tx1"/>
                </a:solidFill>
              </a:rPr>
              <a:t>seasonal</a:t>
            </a:r>
            <a:r>
              <a:rPr lang="sv-SE" dirty="0">
                <a:solidFill>
                  <a:schemeClr val="tx1"/>
                </a:solidFill>
              </a:rPr>
              <a:t> tren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Big standard </a:t>
            </a:r>
            <a:r>
              <a:rPr lang="sv-SE" dirty="0" err="1">
                <a:solidFill>
                  <a:schemeClr val="tx1"/>
                </a:solidFill>
              </a:rPr>
              <a:t>errors</a:t>
            </a:r>
            <a:r>
              <a:rPr lang="sv-SE" dirty="0">
                <a:solidFill>
                  <a:schemeClr val="tx1"/>
                </a:solidFill>
              </a:rPr>
              <a:t>, not </a:t>
            </a:r>
            <a:r>
              <a:rPr lang="sv-SE" dirty="0" err="1">
                <a:solidFill>
                  <a:schemeClr val="tx1"/>
                </a:solidFill>
              </a:rPr>
              <a:t>predicting</a:t>
            </a:r>
            <a:r>
              <a:rPr lang="sv-SE" dirty="0">
                <a:solidFill>
                  <a:schemeClr val="tx1"/>
                </a:solidFill>
              </a:rPr>
              <a:t> last 5 </a:t>
            </a:r>
            <a:r>
              <a:rPr lang="sv-SE" dirty="0" err="1">
                <a:solidFill>
                  <a:schemeClr val="tx1"/>
                </a:solidFill>
              </a:rPr>
              <a:t>weeks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12533C-90CA-4A81-9C8A-928C7851F8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6148" y="1912373"/>
            <a:ext cx="3646487" cy="22796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A1EB96C-8477-4FAD-8BE3-40A31EAE47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365" y="2054653"/>
            <a:ext cx="3257074" cy="199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88815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Beschreibung&quot; visible=&quot;1&quot; checked=&quot;1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Arial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Titanic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8&quot; createSections=&quot;0&quot; singleSlideId=&quot;7ebeb588-8fba-49fc-b57c-65932a7bce3c&quot; backupSlideId=&quot;47d21fe2-8ccd-4363-ad68-9e39af7a636c&quot; backupSection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418.5646&quot; /&gt;&lt;column field=&quot;responsible&quot; label=&quot;Responsible&quot; visible=&quot;1&quot; checked=&quot;0&quot; leftSpacing=&quot;10&quot; rightDistribute=&quot;1&quot; dock=&quot;1&quot; rightSpacing=&quot;205.677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0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bbdef152-42b1-434f-b2eb-b811666c0c64&quot; parentId=&quot;&quot; level=&quot;1&quot; generateAgendaSlide=&quot;1&quot; showAgendaItem=&quot;1&quot; isBreak=&quot;0&quot; topic=&quot;Introduction&quot; agendaSlideId=&quot;bd9a1627-c2f9-44a3-9028-d8af89a4e25d&quot; itemNo=&quot;1&quot; subItemNo=&quot;0&quot; sectionId=&quot;&quot; /&gt;&lt;item duration=&quot;30&quot; id=&quot;211f2fd1-bf1e-455e-b13d-bea581f0906e&quot; parentId=&quot;&quot; level=&quot;1&quot; generateAgendaSlide=&quot;1&quot; showAgendaItem=&quot;1&quot; isBreak=&quot;0&quot; topic=&quot;Analysis&quot; agendaSlideId=&quot;70f84df0-6d8e-4290-b530-727efd1015bd&quot; itemNo=&quot;2&quot; subItemNo=&quot;0&quot; sectionId=&quot;&quot; /&gt;&lt;item duration=&quot;30&quot; id=&quot;f01bffa5-3448-4899-b38c-48f2a7a49bfd&quot; parentId=&quot;211f2fd1-bf1e-455e-b13d-bea581f0906e&quot; level=&quot;2&quot; generateAgendaSlide=&quot;1&quot; showAgendaItem=&quot;1&quot; isBreak=&quot;0&quot; topic=&quot;Covariates&quot; agendaSlideId=&quot;12078ae7-9d54-48a4-a47f-1e7c271d2a07&quot; sectionId=&quot;&quot; /&gt;&lt;item duration=&quot;30&quot; id=&quot;6a2afad1-8aeb-444b-9b5e-80b8003aa934&quot; parentId=&quot;211f2fd1-bf1e-455e-b13d-bea581f0906e&quot; level=&quot;2&quot; generateAgendaSlide=&quot;1&quot; showAgendaItem=&quot;1&quot; isBreak=&quot;0&quot; topic=&quot;Comparing models&quot; agendaSlideId=&quot;075058fd-6a15-43df-968e-afb187f0d03b&quot; sectionId=&quot;&quot; /&gt;&lt;item duration=&quot;30&quot; id=&quot;c09f0615-26aa-4597-bf97-2e716700fe32&quot; parentId=&quot;&quot; level=&quot;1&quot; generateAgendaSlide=&quot;1&quot; showAgendaItem=&quot;1&quot; isBreak=&quot;0&quot; topic=&quot;Results&quot; agendaSlideId=&quot;1803e2b3-43b7-47be-b0bb-d0fa1fcbf3de&quot; itemNo=&quot;3&quot; subItemNo=&quot;0&quot; sectionId=&quot;&quot; /&gt;&lt;item duration=&quot;30&quot; id=&quot;4685fd59-35a3-4a07-9ef5-f6030ac13514&quot; parentId=&quot;&quot; level=&quot;1&quot; generateAgendaSlide=&quot;1&quot; showAgendaItem=&quot;1&quot; isBreak=&quot;0&quot; topic=&quot;Questions&quot; agendaSlideId=&quot;8ce0f310-56f6-4fd8-8fd1-bd21585a51f4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ce0f310-56f6-4fd8-8fd1-bd21585a51f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Questions"/>
  <p:tag name="EE4P_AGENDAWIZARD_PROPERTIES" val="370.4102/242.5891/318.4648/43.62189"/>
</p:tagLst>
</file>

<file path=ppt/theme/theme1.xml><?xml version="1.0" encoding="utf-8"?>
<a:theme xmlns:a="http://schemas.openxmlformats.org/drawingml/2006/main" name="SU_Template_TopBar">
  <a:themeElements>
    <a:clrScheme name="Stanford2">
      <a:dk1>
        <a:srgbClr val="000000"/>
      </a:dk1>
      <a:lt1>
        <a:srgbClr val="FFFFFF"/>
      </a:lt1>
      <a:dk2>
        <a:srgbClr val="DAD7CB"/>
      </a:dk2>
      <a:lt2>
        <a:srgbClr val="8C1515"/>
      </a:lt2>
      <a:accent1>
        <a:srgbClr val="8D3C1E"/>
      </a:accent1>
      <a:accent2>
        <a:srgbClr val="00505C"/>
      </a:accent2>
      <a:accent3>
        <a:srgbClr val="53284F"/>
      </a:accent3>
      <a:accent4>
        <a:srgbClr val="175E54"/>
      </a:accent4>
      <a:accent5>
        <a:srgbClr val="4D4F53"/>
      </a:accent5>
      <a:accent6>
        <a:srgbClr val="D2C295"/>
      </a:accent6>
      <a:hlink>
        <a:srgbClr val="A4001D"/>
      </a:hlink>
      <a:folHlink>
        <a:srgbClr val="000000"/>
      </a:folHlink>
    </a:clrScheme>
    <a:fontScheme name="Stanford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2</TotalTime>
  <Words>229</Words>
  <Application>Microsoft Office PowerPoint</Application>
  <PresentationFormat>On-screen Show (16:9)</PresentationFormat>
  <Paragraphs>55</Paragraphs>
  <Slides>1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Source Sans Pro</vt:lpstr>
      <vt:lpstr>Source Sans Pro Semibold</vt:lpstr>
      <vt:lpstr>Wingdings</vt:lpstr>
      <vt:lpstr>SU_Template_TopBar</vt:lpstr>
      <vt:lpstr>Mammoth snow depth</vt:lpstr>
      <vt:lpstr>Mammouth mountain</vt:lpstr>
      <vt:lpstr>Dataset</vt:lpstr>
      <vt:lpstr>Data cleaning</vt:lpstr>
      <vt:lpstr>Detrending</vt:lpstr>
      <vt:lpstr>Detrended series properties</vt:lpstr>
      <vt:lpstr>Model fitting</vt:lpstr>
      <vt:lpstr>Residuals and smoothness</vt:lpstr>
      <vt:lpstr>Prediction</vt:lpstr>
      <vt:lpstr>Prediction different model</vt:lpstr>
      <vt:lpstr>Next steps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Guidelines</dc:title>
  <dc:creator>Melinda Hantke</dc:creator>
  <dc:description>2012 PowerPoint template redesign</dc:description>
  <cp:lastModifiedBy>John</cp:lastModifiedBy>
  <cp:revision>458</cp:revision>
  <dcterms:created xsi:type="dcterms:W3CDTF">2018-02-28T00:33:16Z</dcterms:created>
  <dcterms:modified xsi:type="dcterms:W3CDTF">2020-03-05T02:14:40Z</dcterms:modified>
</cp:coreProperties>
</file>